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660" r:id="rId2"/>
  </p:sldMasterIdLst>
  <p:notesMasterIdLst>
    <p:notesMasterId r:id="rId10"/>
  </p:notesMasterIdLst>
  <p:sldIdLst>
    <p:sldId id="257" r:id="rId3"/>
    <p:sldId id="258" r:id="rId4"/>
    <p:sldId id="259" r:id="rId5"/>
    <p:sldId id="260" r:id="rId6"/>
    <p:sldId id="262" r:id="rId7"/>
    <p:sldId id="264" r:id="rId8"/>
    <p:sldId id="263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FC4092E-B097-4E77-94DA-7B49E42D3E52}" v="5" dt="2024-01-19T14:14:22.1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2" d="100"/>
          <a:sy n="42" d="100"/>
        </p:scale>
        <p:origin x="145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microsoft.com/office/2015/10/relationships/revisionInfo" Target="revisionInfo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22ED1D-EB63-4735-84A5-6D35019AD79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4C51D0-920F-4E2E-B6A2-B3F4D07EB9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5253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8947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9869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6685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2235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5313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Massachusetts General Hospit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4"/>
            <a:ext cx="9522781" cy="1680909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3"/>
            <a:ext cx="1832218" cy="243349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GH Community Health Work |   Confidential—do not copy or distribut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4357391-435D-FE40-BA1B-2A5D1496E7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6424" y="635935"/>
            <a:ext cx="4407408" cy="456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594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1719072"/>
            <a:ext cx="5184648" cy="402336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719072"/>
            <a:ext cx="5184648" cy="402336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718913-5E8E-2E44-862B-D47884C2F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32BC4998-B6F1-DA42-B41F-97DBCEF72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BE4E73-5259-334F-AE3B-9FF8EABC02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GH Community Health Work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882049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74">
          <p15:clr>
            <a:srgbClr val="FBAE40"/>
          </p15:clr>
        </p15:guide>
        <p15:guide id="3" pos="40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6324" y="6362188"/>
            <a:ext cx="7707596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MGH Community Health Work |   Confidential—do not copy or distribute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0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B496F443-CBC9-D942-BCF6-03ABB20B2848}"/>
              </a:ext>
            </a:extLst>
          </p:cNvPr>
          <p:cNvSpPr/>
          <p:nvPr userDrawn="1"/>
        </p:nvSpPr>
        <p:spPr>
          <a:xfrm>
            <a:off x="640080" y="6246683"/>
            <a:ext cx="241400" cy="34575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976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28600" algn="l" defTabSz="9144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8975" indent="-220663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7575" indent="-233363" algn="l" defTabSz="9144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4950" algn="l" defTabSz="9144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6324" y="6362188"/>
            <a:ext cx="7707596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MGH Community Health Work |   Confidential—do not copy or distribute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0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B496F443-CBC9-D942-BCF6-03ABB20B2848}"/>
              </a:ext>
            </a:extLst>
          </p:cNvPr>
          <p:cNvSpPr/>
          <p:nvPr userDrawn="1"/>
        </p:nvSpPr>
        <p:spPr>
          <a:xfrm>
            <a:off x="640080" y="6246683"/>
            <a:ext cx="241400" cy="34575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976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28600" algn="l" defTabSz="9144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8975" indent="-220663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7575" indent="-233363" algn="l" defTabSz="9144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4950" algn="l" defTabSz="9144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dison-park.org/what-we-do/resident-community-services/youth-development/" TargetMode="External"/><Relationship Id="rId13" Type="http://schemas.openxmlformats.org/officeDocument/2006/relationships/hyperlink" Target="https://www.massport.com/community/scholarships-and-internships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studentjobs.bostonpic.org/" TargetMode="External"/><Relationship Id="rId12" Type="http://schemas.openxmlformats.org/officeDocument/2006/relationships/hyperlink" Target="https://www.fs.usda.gov/working-with-us/opportunities-for-young-people/youth-conservation-corps-opportunities" TargetMode="Externa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emf"/><Relationship Id="rId11" Type="http://schemas.openxmlformats.org/officeDocument/2006/relationships/hyperlink" Target="https://ymcaboston.org/careers/" TargetMode="External"/><Relationship Id="rId5" Type="http://schemas.openxmlformats.org/officeDocument/2006/relationships/oleObject" Target="../embeddings/oleObject3.bin"/><Relationship Id="rId10" Type="http://schemas.openxmlformats.org/officeDocument/2006/relationships/hyperlink" Target="https://www.summerworks.net/WorksClient/" TargetMode="External"/><Relationship Id="rId4" Type="http://schemas.openxmlformats.org/officeDocument/2006/relationships/notesSlide" Target="../notesSlides/notesSlide2.xml"/><Relationship Id="rId9" Type="http://schemas.openxmlformats.org/officeDocument/2006/relationships/hyperlink" Target="https://successlink-boston.icims.com/jobs/intro?hashed=-435683065&amp;mobile=false&amp;width=1150&amp;height=500&amp;bga=true&amp;needsRedirect=false&amp;jan1offset=-300&amp;jun1offset=-240" TargetMode="External"/><Relationship Id="rId14" Type="http://schemas.openxmlformats.org/officeDocument/2006/relationships/hyperlink" Target="https://www.bpl.org/job-help-for-teens/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leap4ed.org/programs/summer-work-program/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www.tfaforms.com/5011442" TargetMode="Externa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4.emf"/><Relationship Id="rId11" Type="http://schemas.openxmlformats.org/officeDocument/2006/relationships/hyperlink" Target="https://www.cityofmalden.org/252/Mayors-Youth-Employment-Program" TargetMode="External"/><Relationship Id="rId5" Type="http://schemas.openxmlformats.org/officeDocument/2006/relationships/oleObject" Target="../embeddings/oleObject4.bin"/><Relationship Id="rId10" Type="http://schemas.openxmlformats.org/officeDocument/2006/relationships/hyperlink" Target="https://www.revere.org/news/post/summer-youth-job-application-now-available" TargetMode="External"/><Relationship Id="rId4" Type="http://schemas.openxmlformats.org/officeDocument/2006/relationships/notesSlide" Target="../notesSlides/notesSlide3.xml"/><Relationship Id="rId9" Type="http://schemas.openxmlformats.org/officeDocument/2006/relationships/hyperlink" Target="https://cityofeverett.com/resident-services/children-services/everett-summer-programs/mayor-carlo-demarias-summer-youth-job-program/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sscap.org/category/program-types/workforce-devt-adult-education/youth-mentoring/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www.mass.gov/handbook/masshire-youth-service-provider-list" TargetMode="Externa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4.emf"/><Relationship Id="rId11" Type="http://schemas.openxmlformats.org/officeDocument/2006/relationships/hyperlink" Target="https://www.brighamandwomens.org/research/research-volunteer-opportunities" TargetMode="External"/><Relationship Id="rId5" Type="http://schemas.openxmlformats.org/officeDocument/2006/relationships/oleObject" Target="../embeddings/oleObject5.bin"/><Relationship Id="rId10" Type="http://schemas.openxmlformats.org/officeDocument/2006/relationships/hyperlink" Target="https://www.massgeneral.org/community-health/cchi/programs/mgh-youth-scholars" TargetMode="External"/><Relationship Id="rId4" Type="http://schemas.openxmlformats.org/officeDocument/2006/relationships/notesSlide" Target="../notesSlides/notesSlide4.xml"/><Relationship Id="rId9" Type="http://schemas.openxmlformats.org/officeDocument/2006/relationships/hyperlink" Target="https://www.frcma.org/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partnerbps.org/find-a-program/" TargetMode="External"/><Relationship Id="rId13" Type="http://schemas.openxmlformats.org/officeDocument/2006/relationships/hyperlink" Target="https://www.boston.gov/departments/boston-centers-youth-families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www.bostonpublicschools.org/summercamps" TargetMode="External"/><Relationship Id="rId12" Type="http://schemas.openxmlformats.org/officeDocument/2006/relationships/hyperlink" Target="https://www.umb.edu/csde/camp_shriver" TargetMode="Externa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4.emf"/><Relationship Id="rId11" Type="http://schemas.openxmlformats.org/officeDocument/2006/relationships/hyperlink" Target="https://www.bostoncentral.com/boston-summer-camps-massachusetts" TargetMode="External"/><Relationship Id="rId5" Type="http://schemas.openxmlformats.org/officeDocument/2006/relationships/oleObject" Target="../embeddings/oleObject6.bin"/><Relationship Id="rId10" Type="http://schemas.openxmlformats.org/officeDocument/2006/relationships/hyperlink" Target="https://mommypoppins.com/family/boston-summer-and-vacation-camps-guide" TargetMode="External"/><Relationship Id="rId4" Type="http://schemas.openxmlformats.org/officeDocument/2006/relationships/notesSlide" Target="../notesSlides/notesSlide5.xml"/><Relationship Id="rId9" Type="http://schemas.openxmlformats.org/officeDocument/2006/relationships/hyperlink" Target="https://campharborview.org/summer-camp/" TargetMode="External"/><Relationship Id="rId14" Type="http://schemas.openxmlformats.org/officeDocument/2006/relationships/hyperlink" Target="https://accessrec.org/programs-services/summer-camp/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hisawyer.com/browse/online/camps" TargetMode="External"/><Relationship Id="rId13" Type="http://schemas.openxmlformats.org/officeDocument/2006/relationships/hyperlink" Target="https://www.campjabberwocky.org/" TargetMode="External"/><Relationship Id="rId3" Type="http://schemas.openxmlformats.org/officeDocument/2006/relationships/hyperlink" Target="https://www.spedchildmass.com/special-needs-camps-fairs-massachusetts-2024/" TargetMode="External"/><Relationship Id="rId7" Type="http://schemas.openxmlformats.org/officeDocument/2006/relationships/hyperlink" Target="https://www.idtech.com/virtual" TargetMode="External"/><Relationship Id="rId12" Type="http://schemas.openxmlformats.org/officeDocument/2006/relationships/hyperlink" Target="http://campallennh.org/" TargetMode="External"/><Relationship Id="rId17" Type="http://schemas.openxmlformats.org/officeDocument/2006/relationships/hyperlink" Target="https://www.campsimcha.org/about-camp-simcha-special/" TargetMode="External"/><Relationship Id="rId2" Type="http://schemas.openxmlformats.org/officeDocument/2006/relationships/hyperlink" Target="https://www.kidscamps.com/summer_camps/massachusetts-summer-camps-page0.html" TargetMode="External"/><Relationship Id="rId16" Type="http://schemas.openxmlformats.org/officeDocument/2006/relationships/hyperlink" Target="https://www.wsymca.org/camps/frank-a-day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varsitytutors.com/classes/search" TargetMode="External"/><Relationship Id="rId11" Type="http://schemas.openxmlformats.org/officeDocument/2006/relationships/hyperlink" Target="https://zebra-crossings.org/about-us/" TargetMode="External"/><Relationship Id="rId5" Type="http://schemas.openxmlformats.org/officeDocument/2006/relationships/hyperlink" Target="https://comfortzonecamp.org/" TargetMode="External"/><Relationship Id="rId15" Type="http://schemas.openxmlformats.org/officeDocument/2006/relationships/hyperlink" Target="https://epilepsyct.com/camp-courage/" TargetMode="External"/><Relationship Id="rId10" Type="http://schemas.openxmlformats.org/officeDocument/2006/relationships/hyperlink" Target="https://www.doublehranch.org/" TargetMode="External"/><Relationship Id="rId4" Type="http://schemas.openxmlformats.org/officeDocument/2006/relationships/hyperlink" Target="https://www.campchannel.com/campers/browse/special_needs-cc.shtml" TargetMode="External"/><Relationship Id="rId9" Type="http://schemas.openxmlformats.org/officeDocument/2006/relationships/hyperlink" Target="https://outschool.com/summer" TargetMode="External"/><Relationship Id="rId14" Type="http://schemas.openxmlformats.org/officeDocument/2006/relationships/hyperlink" Target="http://www.specialsurfer.org/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://campadvisors.com/summer.html" TargetMode="External"/><Relationship Id="rId13" Type="http://schemas.openxmlformats.org/officeDocument/2006/relationships/hyperlink" Target="https://www.invent.org/programs/camp-invention" TargetMode="External"/><Relationship Id="rId3" Type="http://schemas.openxmlformats.org/officeDocument/2006/relationships/hyperlink" Target="https://www.massaudubon.org/get-outdoors/nature-camps/day-camps" TargetMode="External"/><Relationship Id="rId7" Type="http://schemas.openxmlformats.org/officeDocument/2006/relationships/hyperlink" Target="https://www.acanewengland.org/for-families-public/find-a-camp/" TargetMode="External"/><Relationship Id="rId12" Type="http://schemas.openxmlformats.org/officeDocument/2006/relationships/hyperlink" Target="https://beascout.scouting.org/" TargetMode="External"/><Relationship Id="rId17" Type="http://schemas.openxmlformats.org/officeDocument/2006/relationships/hyperlink" Target="https://www.zoonewengland.org/zoocamp" TargetMode="External"/><Relationship Id="rId2" Type="http://schemas.openxmlformats.org/officeDocument/2006/relationships/hyperlink" Target="https://www.massaudubon.org/programs-events/nature-camps" TargetMode="External"/><Relationship Id="rId16" Type="http://schemas.openxmlformats.org/officeDocument/2006/relationships/hyperlink" Target="https://lend-a-hand-society.org/what-we-do/grants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frcma.org/" TargetMode="External"/><Relationship Id="rId11" Type="http://schemas.openxmlformats.org/officeDocument/2006/relationships/hyperlink" Target="https://www.gsema.org/en/camp/our-camps.html" TargetMode="External"/><Relationship Id="rId5" Type="http://schemas.openxmlformats.org/officeDocument/2006/relationships/hyperlink" Target="https://bostonmoms.com/guides/guide-to-summer-camps-in-boston-beyond/" TargetMode="External"/><Relationship Id="rId15" Type="http://schemas.openxmlformats.org/officeDocument/2006/relationships/hyperlink" Target="https://www.kidscamps.com/summer_camps/massachusetts-summer-camps-page0.html" TargetMode="External"/><Relationship Id="rId10" Type="http://schemas.openxmlformats.org/officeDocument/2006/relationships/hyperlink" Target="https://easternusa.salvationarmy.org/massachusetts/camp-summerprograms/" TargetMode="External"/><Relationship Id="rId4" Type="http://schemas.openxmlformats.org/officeDocument/2006/relationships/hyperlink" Target="https://national.macaronikid.com/locations" TargetMode="External"/><Relationship Id="rId9" Type="http://schemas.openxmlformats.org/officeDocument/2006/relationships/hyperlink" Target="https://www.masscamps.com/" TargetMode="External"/><Relationship Id="rId14" Type="http://schemas.openxmlformats.org/officeDocument/2006/relationships/hyperlink" Target="https://www.masscap.org/agencies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9D63CF-3DE9-BA47-AD6C-3CA9A50B60E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Youth Summer Jobs and Camp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02C1933-575E-314E-A8C0-02AE388116A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Kelly Flannery, SDH Community Health Worker Team Lea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4301BD-529D-C343-84D0-3959DCD26A2C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/>
              <a:t>January 2024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93F4FD5-6872-FC47-BC1C-159D286BFA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US"/>
              <a:t>MGH Community Health Work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9985050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8778D7C-7927-014E-8B61-98BDACB733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8778D7C-7927-014E-8B61-98BDACB733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7A369A-D723-2141-853B-7666423001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BB8E81-73FA-8241-9491-D4B6008E21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336837"/>
            <a:ext cx="10902950" cy="956516"/>
          </a:xfrm>
        </p:spPr>
        <p:txBody>
          <a:bodyPr/>
          <a:lstStyle/>
          <a:p>
            <a:r>
              <a:rPr lang="en-US" dirty="0"/>
              <a:t>Youth Summer Job Programs -Boston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B57BEBC-D8C9-9A49-A75C-48119DA2D86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MGH Community Health Work |   Confidential—do not copy or distribute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9CD35292-3057-F552-C50F-45CBF3B351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5459395"/>
              </p:ext>
            </p:extLst>
          </p:nvPr>
        </p:nvGraphicFramePr>
        <p:xfrm>
          <a:off x="434526" y="763140"/>
          <a:ext cx="11243952" cy="5455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0873">
                  <a:extLst>
                    <a:ext uri="{9D8B030D-6E8A-4147-A177-3AD203B41FA5}">
                      <a16:colId xmlns:a16="http://schemas.microsoft.com/office/drawing/2014/main" val="371974730"/>
                    </a:ext>
                  </a:extLst>
                </a:gridCol>
                <a:gridCol w="3315966">
                  <a:extLst>
                    <a:ext uri="{9D8B030D-6E8A-4147-A177-3AD203B41FA5}">
                      <a16:colId xmlns:a16="http://schemas.microsoft.com/office/drawing/2014/main" val="2734674320"/>
                    </a:ext>
                  </a:extLst>
                </a:gridCol>
                <a:gridCol w="3737113">
                  <a:extLst>
                    <a:ext uri="{9D8B030D-6E8A-4147-A177-3AD203B41FA5}">
                      <a16:colId xmlns:a16="http://schemas.microsoft.com/office/drawing/2014/main" val="518448151"/>
                    </a:ext>
                  </a:extLst>
                </a:gridCol>
              </a:tblGrid>
              <a:tr h="276273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Program Li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Deadlin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Age require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1732430"/>
                  </a:ext>
                </a:extLst>
              </a:tr>
              <a:tr h="276273">
                <a:tc>
                  <a:txBody>
                    <a:bodyPr/>
                    <a:lstStyle/>
                    <a:p>
                      <a:r>
                        <a:rPr lang="en-US" sz="1600">
                          <a:hlinkClick r:id="rId7"/>
                        </a:rPr>
                        <a:t>Boston PIC</a:t>
                      </a:r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Application open n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16 years old by July 1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8390365"/>
                  </a:ext>
                </a:extLst>
              </a:tr>
              <a:tr h="477199">
                <a:tc>
                  <a:txBody>
                    <a:bodyPr/>
                    <a:lstStyle/>
                    <a:p>
                      <a:r>
                        <a:rPr lang="en-US" sz="1600">
                          <a:hlinkClick r:id="rId8"/>
                        </a:rPr>
                        <a:t>Summer Youth Employment Program- MPDC Roxbury</a:t>
                      </a:r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Not listed (fills quickl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4 to 19 </a:t>
                      </a:r>
                      <a:r>
                        <a:rPr lang="en-US" sz="1600" dirty="0" err="1"/>
                        <a:t>yo</a:t>
                      </a:r>
                      <a:r>
                        <a:rPr lang="en-US" sz="1600" dirty="0"/>
                        <a:t> primarily Boston yout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0834589"/>
                  </a:ext>
                </a:extLst>
              </a:tr>
              <a:tr h="477199">
                <a:tc>
                  <a:txBody>
                    <a:bodyPr/>
                    <a:lstStyle/>
                    <a:p>
                      <a:r>
                        <a:rPr lang="en-US" sz="1600">
                          <a:hlinkClick r:id="rId9"/>
                        </a:rPr>
                        <a:t>BCYF Youth Engagement &amp; Employment | Boston.gov</a:t>
                      </a:r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024 dates not listed yet: 2023 dates were March 13</a:t>
                      </a:r>
                      <a:r>
                        <a:rPr lang="en-US" sz="1600" baseline="30000" dirty="0"/>
                        <a:t>th</a:t>
                      </a:r>
                      <a:r>
                        <a:rPr lang="en-US" sz="1600" dirty="0"/>
                        <a:t> - April 30</a:t>
                      </a:r>
                      <a:r>
                        <a:rPr lang="en-US" sz="1600" baseline="30000" dirty="0"/>
                        <a:t>th</a:t>
                      </a:r>
                      <a:r>
                        <a:rPr lang="en-US" sz="16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 to 18 </a:t>
                      </a:r>
                      <a:r>
                        <a:rPr lang="en-US" sz="1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o</a:t>
                      </a: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oston youth</a:t>
                      </a: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0589240"/>
                  </a:ext>
                </a:extLst>
              </a:tr>
              <a:tr h="276273">
                <a:tc>
                  <a:txBody>
                    <a:bodyPr/>
                    <a:lstStyle/>
                    <a:p>
                      <a:r>
                        <a:rPr lang="en-US" sz="1600">
                          <a:hlinkClick r:id="rId10"/>
                        </a:rPr>
                        <a:t>ABCD </a:t>
                      </a:r>
                      <a:r>
                        <a:rPr lang="en-US" sz="1600" err="1">
                          <a:hlinkClick r:id="rId10"/>
                        </a:rPr>
                        <a:t>SummerWorks</a:t>
                      </a:r>
                      <a:r>
                        <a:rPr lang="en-US" sz="1600">
                          <a:hlinkClick r:id="rId10"/>
                        </a:rPr>
                        <a:t> Registration</a:t>
                      </a:r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Not open yet for 2024 but in 2023 Application open February 1</a:t>
                      </a:r>
                      <a:r>
                        <a:rPr lang="en-US" sz="1600" baseline="30000" dirty="0"/>
                        <a:t>st</a:t>
                      </a:r>
                    </a:p>
                    <a:p>
                      <a:r>
                        <a:rPr lang="en-US" sz="1600" dirty="0"/>
                        <a:t>Apply early!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14 to 21 </a:t>
                      </a:r>
                      <a:r>
                        <a:rPr lang="en-US" sz="1600" err="1"/>
                        <a:t>yo</a:t>
                      </a:r>
                      <a:r>
                        <a:rPr lang="en-US" sz="1600"/>
                        <a:t> Boston and Medford resid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2092450"/>
                  </a:ext>
                </a:extLst>
              </a:tr>
              <a:tr h="276273">
                <a:tc>
                  <a:txBody>
                    <a:bodyPr/>
                    <a:lstStyle/>
                    <a:p>
                      <a:r>
                        <a:rPr lang="en-US" sz="1600">
                          <a:hlinkClick r:id="rId11"/>
                        </a:rPr>
                        <a:t>Careers - YMCA of Greater Boston</a:t>
                      </a:r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452642"/>
                  </a:ext>
                </a:extLst>
              </a:tr>
              <a:tr h="678125">
                <a:tc>
                  <a:txBody>
                    <a:bodyPr/>
                    <a:lstStyle/>
                    <a:p>
                      <a:r>
                        <a:rPr lang="en-US" sz="1600">
                          <a:hlinkClick r:id="rId12"/>
                        </a:rPr>
                        <a:t>Youth Conservation Corps | US Forest Service (usda.gov)</a:t>
                      </a:r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plication posted in February. Accepted by March 1 for direct hire by forest positions and up to April 15 for partner offered position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15 to 18 (can’t turn 19 during program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Also has several other types of internship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2277057"/>
                  </a:ext>
                </a:extLst>
              </a:tr>
              <a:tr h="666084">
                <a:tc>
                  <a:txBody>
                    <a:bodyPr/>
                    <a:lstStyle/>
                    <a:p>
                      <a:r>
                        <a:rPr lang="en-US" sz="1600" dirty="0" err="1">
                          <a:hlinkClick r:id="rId13"/>
                        </a:rPr>
                        <a:t>Massport</a:t>
                      </a:r>
                      <a:r>
                        <a:rPr lang="en-US" sz="1600" dirty="0">
                          <a:hlinkClick r:id="rId13"/>
                        </a:rPr>
                        <a:t> Student Program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Positions not posted on website yet. When posted, they will be found on the careers section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In 2023 they had two options: One for any youth over 18 and another for Junior or Senior College stud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7596564"/>
                  </a:ext>
                </a:extLst>
              </a:tr>
              <a:tr h="477199">
                <a:tc>
                  <a:txBody>
                    <a:bodyPr/>
                    <a:lstStyle/>
                    <a:p>
                      <a:r>
                        <a:rPr lang="en-US" sz="1600" dirty="0">
                          <a:hlinkClick r:id="rId14"/>
                        </a:rPr>
                        <a:t>Job Help for Teens | Boston Public Library (bpl.org)</a:t>
                      </a:r>
                      <a:endParaRPr lang="en-US" sz="16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600" dirty="0"/>
                        <a:t>Dozens of youth job and internship opportunities listed on this site!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98513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51038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8778D7C-7927-014E-8B61-98BDACB733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8778D7C-7927-014E-8B61-98BDACB733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7A369A-D723-2141-853B-7666423001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BB8E81-73FA-8241-9491-D4B6008E2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Youth Summer Job Programs- Outside of Boston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B57BEBC-D8C9-9A49-A75C-48119DA2D86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MGH Community Health Work |   Confidential—do not copy or distribute</a:t>
            </a:r>
          </a:p>
        </p:txBody>
      </p:sp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B1F2AB8D-8AD3-053D-5403-9D69DF78A3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6721135"/>
              </p:ext>
            </p:extLst>
          </p:nvPr>
        </p:nvGraphicFramePr>
        <p:xfrm>
          <a:off x="805070" y="1286197"/>
          <a:ext cx="10739228" cy="43287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84807">
                  <a:extLst>
                    <a:ext uri="{9D8B030D-6E8A-4147-A177-3AD203B41FA5}">
                      <a16:colId xmlns:a16="http://schemas.microsoft.com/office/drawing/2014/main" val="1968833514"/>
                    </a:ext>
                  </a:extLst>
                </a:gridCol>
                <a:gridCol w="3523987">
                  <a:extLst>
                    <a:ext uri="{9D8B030D-6E8A-4147-A177-3AD203B41FA5}">
                      <a16:colId xmlns:a16="http://schemas.microsoft.com/office/drawing/2014/main" val="1301488823"/>
                    </a:ext>
                  </a:extLst>
                </a:gridCol>
                <a:gridCol w="2109354">
                  <a:extLst>
                    <a:ext uri="{9D8B030D-6E8A-4147-A177-3AD203B41FA5}">
                      <a16:colId xmlns:a16="http://schemas.microsoft.com/office/drawing/2014/main" val="3929637584"/>
                    </a:ext>
                  </a:extLst>
                </a:gridCol>
                <a:gridCol w="2421080">
                  <a:extLst>
                    <a:ext uri="{9D8B030D-6E8A-4147-A177-3AD203B41FA5}">
                      <a16:colId xmlns:a16="http://schemas.microsoft.com/office/drawing/2014/main" val="2424747576"/>
                    </a:ext>
                  </a:extLst>
                </a:gridCol>
              </a:tblGrid>
              <a:tr h="549939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Program Li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eadlin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ge Require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ity/Tow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52211"/>
                  </a:ext>
                </a:extLst>
              </a:tr>
              <a:tr h="668526">
                <a:tc>
                  <a:txBody>
                    <a:bodyPr/>
                    <a:lstStyle/>
                    <a:p>
                      <a:r>
                        <a:rPr lang="en-US">
                          <a:hlinkClick r:id="rId7"/>
                        </a:rPr>
                        <a:t>La </a:t>
                      </a:r>
                      <a:r>
                        <a:rPr lang="en-US" err="1">
                          <a:hlinkClick r:id="rId7"/>
                        </a:rPr>
                        <a:t>Colaborativa</a:t>
                      </a:r>
                      <a:r>
                        <a:rPr lang="en-US">
                          <a:hlinkClick r:id="rId7"/>
                        </a:rPr>
                        <a:t> Youth Jobs Application (tfaforms.com)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Deadline still to be determin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2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Chelsea residents onl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6802504"/>
                  </a:ext>
                </a:extLst>
              </a:tr>
              <a:tr h="549939">
                <a:tc>
                  <a:txBody>
                    <a:bodyPr/>
                    <a:lstStyle/>
                    <a:p>
                      <a:r>
                        <a:rPr lang="en-US">
                          <a:hlinkClick r:id="rId8"/>
                        </a:rPr>
                        <a:t>Summer Work Program - LEAP for Education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gistration opens in April</a:t>
                      </a:r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4-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Lynn, Peabody, and </a:t>
                      </a:r>
                    </a:p>
                    <a:p>
                      <a:r>
                        <a:rPr lang="en-US"/>
                        <a:t>Sale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2650813"/>
                  </a:ext>
                </a:extLst>
              </a:tr>
              <a:tr h="549939">
                <a:tc>
                  <a:txBody>
                    <a:bodyPr/>
                    <a:lstStyle/>
                    <a:p>
                      <a:r>
                        <a:rPr lang="en-US">
                          <a:hlinkClick r:id="rId9"/>
                        </a:rPr>
                        <a:t>Everett Summer Youth Job Program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adline for 2024 TBA but in 2023 the deadline was April 3</a:t>
                      </a:r>
                      <a:r>
                        <a:rPr lang="en-US" baseline="30000" dirty="0"/>
                        <a:t>rd</a:t>
                      </a:r>
                      <a:r>
                        <a:rPr lang="en-US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4-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Everett Residents onl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7608924"/>
                  </a:ext>
                </a:extLst>
              </a:tr>
              <a:tr h="549939">
                <a:tc>
                  <a:txBody>
                    <a:bodyPr/>
                    <a:lstStyle/>
                    <a:p>
                      <a:r>
                        <a:rPr lang="en-US">
                          <a:hlinkClick r:id="rId10"/>
                        </a:rPr>
                        <a:t>Revere Summer Youth Job Program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@024 deadline for 2024 TBA but in 2023 the deadline was April 27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5-21 (as of May 1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Revere residents onl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745993"/>
                  </a:ext>
                </a:extLst>
              </a:tr>
              <a:tr h="549939">
                <a:tc>
                  <a:txBody>
                    <a:bodyPr/>
                    <a:lstStyle/>
                    <a:p>
                      <a:r>
                        <a:rPr lang="en-US">
                          <a:hlinkClick r:id="rId11"/>
                        </a:rPr>
                        <a:t>Malden Mayor's Youth Employment Program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March 1</a:t>
                      </a:r>
                      <a:r>
                        <a:rPr lang="en-US" baseline="30000"/>
                        <a:t>st</a:t>
                      </a:r>
                      <a:r>
                        <a:rPr lang="en-US"/>
                        <a:t> to April 30</a:t>
                      </a:r>
                      <a:r>
                        <a:rPr lang="en-US" baseline="30000"/>
                        <a:t>th</a:t>
                      </a:r>
                      <a:r>
                        <a:rPr lang="en-US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Malden residents onl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511560"/>
                  </a:ext>
                </a:extLst>
              </a:tr>
              <a:tr h="549939">
                <a:tc gridSpan="4">
                  <a:txBody>
                    <a:bodyPr/>
                    <a:lstStyle/>
                    <a:p>
                      <a:pPr algn="ctr"/>
                      <a:r>
                        <a:rPr lang="en-US" dirty="0"/>
                        <a:t>Other towns/cities: Search “city” summer youth job program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49696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14365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8778D7C-7927-014E-8B61-98BDACB733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8778D7C-7927-014E-8B61-98BDACB733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7A369A-D723-2141-853B-7666423001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BB8E81-73FA-8241-9491-D4B6008E2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Youth Summer Job Program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B57BEBC-D8C9-9A49-A75C-48119DA2D86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MGH Community Health Work |   Confidential—do not copy or distribute</a:t>
            </a:r>
          </a:p>
        </p:txBody>
      </p:sp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B1F2AB8D-8AD3-053D-5403-9D69DF78A3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0218463"/>
              </p:ext>
            </p:extLst>
          </p:nvPr>
        </p:nvGraphicFramePr>
        <p:xfrm>
          <a:off x="2201656" y="1230464"/>
          <a:ext cx="7782338" cy="5013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82338">
                  <a:extLst>
                    <a:ext uri="{9D8B030D-6E8A-4147-A177-3AD203B41FA5}">
                      <a16:colId xmlns:a16="http://schemas.microsoft.com/office/drawing/2014/main" val="196883351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General Search Resource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52211"/>
                  </a:ext>
                </a:extLst>
              </a:tr>
              <a:tr h="132199">
                <a:tc>
                  <a:txBody>
                    <a:bodyPr/>
                    <a:lstStyle/>
                    <a:p>
                      <a:r>
                        <a:rPr lang="en-US" sz="1700" err="1">
                          <a:hlinkClick r:id="rId7"/>
                        </a:rPr>
                        <a:t>MassHire</a:t>
                      </a:r>
                      <a:r>
                        <a:rPr lang="en-US" sz="1700">
                          <a:hlinkClick r:id="rId7"/>
                        </a:rPr>
                        <a:t> youth service provider list | Mass.gov</a:t>
                      </a:r>
                      <a:endParaRPr lang="en-US" sz="17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6802504"/>
                  </a:ext>
                </a:extLst>
              </a:tr>
              <a:tr h="1321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>
                          <a:hlinkClick r:id="rId8"/>
                        </a:rPr>
                        <a:t>Local MASSCAP agencies </a:t>
                      </a:r>
                      <a:endParaRPr lang="en-US" sz="17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619823"/>
                  </a:ext>
                </a:extLst>
              </a:tr>
              <a:tr h="1321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>
                          <a:hlinkClick r:id="rId9"/>
                        </a:rPr>
                        <a:t>Family Resource Centers</a:t>
                      </a:r>
                      <a:r>
                        <a:rPr lang="en-US" sz="1700"/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945286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700"/>
                        <a:t>Boys and Girls Club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2650813"/>
                  </a:ext>
                </a:extLst>
              </a:tr>
              <a:tr h="132199">
                <a:tc>
                  <a:txBody>
                    <a:bodyPr/>
                    <a:lstStyle/>
                    <a:p>
                      <a:r>
                        <a:rPr lang="en-US" sz="1700"/>
                        <a:t>Middle/High School Career Centers &amp; Guidance Offi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760892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700"/>
                        <a:t>YMCA’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74599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700"/>
                        <a:t>Salvation Army (16 years old and up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14691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700"/>
                        <a:t>Community Development Corporations (often have youth engagement program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51156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700"/>
                        <a:t>Public Librar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4969614"/>
                  </a:ext>
                </a:extLst>
              </a:tr>
              <a:tr h="131990">
                <a:tc>
                  <a:txBody>
                    <a:bodyPr/>
                    <a:lstStyle/>
                    <a:p>
                      <a:r>
                        <a:rPr lang="en-US" sz="1700"/>
                        <a:t>City/Town Summer Youth Job Program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261219"/>
                  </a:ext>
                </a:extLst>
              </a:tr>
              <a:tr h="131990">
                <a:tc>
                  <a:txBody>
                    <a:bodyPr/>
                    <a:lstStyle/>
                    <a:p>
                      <a:r>
                        <a:rPr lang="en-US" sz="1700"/>
                        <a:t>Recreation Center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9664911"/>
                  </a:ext>
                </a:extLst>
              </a:tr>
              <a:tr h="131990">
                <a:tc>
                  <a:txBody>
                    <a:bodyPr/>
                    <a:lstStyle/>
                    <a:p>
                      <a:r>
                        <a:rPr lang="en-US" sz="1700"/>
                        <a:t>Community Colleges</a:t>
                      </a:r>
                      <a:endParaRPr lang="en-US" sz="1700" i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0027808"/>
                  </a:ext>
                </a:extLst>
              </a:tr>
              <a:tr h="131990">
                <a:tc>
                  <a:txBody>
                    <a:bodyPr/>
                    <a:lstStyle/>
                    <a:p>
                      <a:r>
                        <a:rPr lang="en-US" sz="1700" i="0" dirty="0"/>
                        <a:t>Hospitals (</a:t>
                      </a:r>
                      <a:r>
                        <a:rPr lang="en-US" sz="1700" i="0" dirty="0">
                          <a:hlinkClick r:id="rId10"/>
                        </a:rPr>
                        <a:t>MGH</a:t>
                      </a:r>
                      <a:r>
                        <a:rPr lang="en-US" sz="1700" i="0" dirty="0"/>
                        <a:t>,</a:t>
                      </a:r>
                      <a:r>
                        <a:rPr lang="en-US" sz="1700" i="0" dirty="0">
                          <a:hlinkClick r:id="rId11"/>
                        </a:rPr>
                        <a:t>BWH</a:t>
                      </a:r>
                      <a:r>
                        <a:rPr lang="en-US" sz="1700" i="0" dirty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5594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14388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8778D7C-7927-014E-8B61-98BDACB733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8778D7C-7927-014E-8B61-98BDACB733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97A369A-D723-2141-853B-76664230012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BB8E81-73FA-8241-9491-D4B6008E2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er Camps- Boston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B57BEBC-D8C9-9A49-A75C-48119DA2D86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MGH Community Health Work |   Confidential—do not copy or distribute</a:t>
            </a:r>
          </a:p>
        </p:txBody>
      </p:sp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B1F2AB8D-8AD3-053D-5403-9D69DF78A3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6785965"/>
              </p:ext>
            </p:extLst>
          </p:nvPr>
        </p:nvGraphicFramePr>
        <p:xfrm>
          <a:off x="914537" y="1554480"/>
          <a:ext cx="10356576" cy="411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01046">
                  <a:extLst>
                    <a:ext uri="{9D8B030D-6E8A-4147-A177-3AD203B41FA5}">
                      <a16:colId xmlns:a16="http://schemas.microsoft.com/office/drawing/2014/main" val="1968833514"/>
                    </a:ext>
                  </a:extLst>
                </a:gridCol>
                <a:gridCol w="5755530">
                  <a:extLst>
                    <a:ext uri="{9D8B030D-6E8A-4147-A177-3AD203B41FA5}">
                      <a16:colId xmlns:a16="http://schemas.microsoft.com/office/drawing/2014/main" val="269121963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Progr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etai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52211"/>
                  </a:ext>
                </a:extLst>
              </a:tr>
              <a:tr h="132199">
                <a:tc>
                  <a:txBody>
                    <a:bodyPr/>
                    <a:lstStyle/>
                    <a:p>
                      <a:r>
                        <a:rPr lang="en-US">
                          <a:hlinkClick r:id="rId7"/>
                        </a:rPr>
                        <a:t>Boston Summer Camps and Programs </a:t>
                      </a:r>
                      <a:r>
                        <a:rPr lang="en-US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Extensive list of camps and programs available to Boston stud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6069269"/>
                  </a:ext>
                </a:extLst>
              </a:tr>
              <a:tr h="132199">
                <a:tc>
                  <a:txBody>
                    <a:bodyPr/>
                    <a:lstStyle/>
                    <a:p>
                      <a:r>
                        <a:rPr lang="en-US" dirty="0">
                          <a:hlinkClick r:id="rId8"/>
                        </a:rPr>
                        <a:t>Partner BPS</a:t>
                      </a:r>
                      <a:r>
                        <a:rPr lang="en-US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Find camps and youth programming for BPS stud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6802504"/>
                  </a:ext>
                </a:extLst>
              </a:tr>
              <a:tr h="132199">
                <a:tc>
                  <a:txBody>
                    <a:bodyPr/>
                    <a:lstStyle/>
                    <a:p>
                      <a:r>
                        <a:rPr lang="en-US" dirty="0">
                          <a:hlinkClick r:id="rId9"/>
                        </a:rPr>
                        <a:t>Camp Harbor View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ree for Boston resid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7750033"/>
                  </a:ext>
                </a:extLst>
              </a:tr>
              <a:tr h="1321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hlinkClick r:id="rId10"/>
                        </a:rPr>
                        <a:t>Mommy Poppins</a:t>
                      </a:r>
                      <a:r>
                        <a:rPr lang="en-US" dirty="0"/>
                        <a:t>-Free and affordab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Should have 2024 article out soon for Free and Affordable Summer Camps in </a:t>
                      </a:r>
                      <a:r>
                        <a:rPr lang="en-US" dirty="0">
                          <a:highlight>
                            <a:srgbClr val="00FFFF"/>
                          </a:highlight>
                        </a:rPr>
                        <a:t>Boston and outside of Bost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6619823"/>
                  </a:ext>
                </a:extLst>
              </a:tr>
              <a:tr h="1321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hlinkClick r:id="rId11"/>
                        </a:rPr>
                        <a:t>Boston Central Camp Directory</a:t>
                      </a:r>
                      <a:r>
                        <a:rPr lang="en-US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highlight>
                            <a:srgbClr val="00FFFF"/>
                          </a:highlight>
                        </a:rPr>
                        <a:t>Includes camps outside of Bost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945286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>
                          <a:hlinkClick r:id="rId12"/>
                        </a:rPr>
                        <a:t>Camp Shriver</a:t>
                      </a:r>
                      <a:r>
                        <a:rPr lang="en-US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A Free Inclusive Summer Camp for Children with and without Disabil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265081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>
                          <a:hlinkClick r:id="rId13"/>
                        </a:rPr>
                        <a:t>Boston Centers For Youth &amp; Families</a:t>
                      </a:r>
                      <a:r>
                        <a:rPr lang="en-US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95915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hlinkClick r:id="rId14"/>
                        </a:rPr>
                        <a:t>Access Recreation Boston</a:t>
                      </a:r>
                      <a:r>
                        <a:rPr lang="en-US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5115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38259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8BA637A-855D-C4AB-DA8E-CF72761F9B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75873" y="1480391"/>
            <a:ext cx="5818239" cy="4383554"/>
          </a:xfrm>
        </p:spPr>
        <p:txBody>
          <a:bodyPr/>
          <a:lstStyle/>
          <a:p>
            <a:r>
              <a:rPr lang="en-US" dirty="0"/>
              <a:t>Camps for Children with Special Needs</a:t>
            </a:r>
            <a:endParaRPr lang="en-US" dirty="0">
              <a:hlinkClick r:id="rId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Massachusetts Summer Camps | </a:t>
            </a:r>
            <a:r>
              <a:rPr lang="en-US" dirty="0" err="1">
                <a:hlinkClick r:id="rId2"/>
              </a:rPr>
              <a:t>KidsCamps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3"/>
              </a:rPr>
              <a:t>Special-Needs Camps &amp; Fairs Massachusetts 2024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4"/>
              </a:rPr>
              <a:t>Camp Channel - Special Needs Camps</a:t>
            </a:r>
            <a:endParaRPr lang="en-US" dirty="0"/>
          </a:p>
          <a:p>
            <a:endParaRPr lang="en-US" dirty="0">
              <a:hlinkClick r:id="rId5"/>
            </a:endParaRPr>
          </a:p>
          <a:p>
            <a:r>
              <a:rPr lang="en-US" dirty="0"/>
              <a:t>Camp for Children Grieving</a:t>
            </a:r>
            <a:endParaRPr lang="en-US" dirty="0">
              <a:hlinkClick r:id="rId5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5"/>
              </a:rPr>
              <a:t>Comfort Zone Camp</a:t>
            </a:r>
            <a:r>
              <a:rPr lang="en-US" dirty="0"/>
              <a:t> – Richmond, V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Virtual</a:t>
            </a:r>
          </a:p>
          <a:p>
            <a:pPr marL="206523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6"/>
              </a:rPr>
              <a:t>Varsity Tutors Virtual Courses</a:t>
            </a:r>
            <a:r>
              <a:rPr lang="en-US" dirty="0"/>
              <a:t>  </a:t>
            </a:r>
          </a:p>
          <a:p>
            <a:pPr marL="206523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7"/>
              </a:rPr>
              <a:t>ID Tech</a:t>
            </a:r>
            <a:endParaRPr lang="en-US" dirty="0"/>
          </a:p>
          <a:p>
            <a:pPr marL="206523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8"/>
              </a:rPr>
              <a:t>Virtual Camp Search Tool</a:t>
            </a:r>
            <a:r>
              <a:rPr lang="en-US" dirty="0"/>
              <a:t>  </a:t>
            </a:r>
          </a:p>
          <a:p>
            <a:pPr marL="206523" indent="-342900">
              <a:buFont typeface="Arial" panose="020B0604020202020204" pitchFamily="34" charset="0"/>
              <a:buChar char="•"/>
            </a:pPr>
            <a:r>
              <a:rPr lang="en-US" dirty="0" err="1">
                <a:hlinkClick r:id="rId9"/>
              </a:rPr>
              <a:t>Outschool</a:t>
            </a:r>
            <a:r>
              <a:rPr lang="en-US" dirty="0">
                <a:hlinkClick r:id="rId9"/>
              </a:rPr>
              <a:t> Online Summer Camp Search Tool</a:t>
            </a:r>
            <a:r>
              <a:rPr lang="en-US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50C45A-CA93-2B67-27A2-143FA3EFBB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7899" y="1480391"/>
            <a:ext cx="5454926" cy="4023360"/>
          </a:xfrm>
        </p:spPr>
        <p:txBody>
          <a:bodyPr/>
          <a:lstStyle/>
          <a:p>
            <a:r>
              <a:rPr lang="en-US" dirty="0"/>
              <a:t>Sleep Away Camps for Children with Complex Medical Conditions and/or Special Need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10"/>
              </a:rPr>
              <a:t>Adirondack Camp For Children With Serious Medical Conditions</a:t>
            </a:r>
            <a:r>
              <a:rPr lang="en-US" dirty="0"/>
              <a:t> – Lake Luzerne, N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11"/>
              </a:rPr>
              <a:t>Zebra Crossings</a:t>
            </a:r>
            <a:r>
              <a:rPr lang="en-US" dirty="0"/>
              <a:t> – Portsmouth, N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12"/>
              </a:rPr>
              <a:t>Camp Allen in Bedford New Hampshire</a:t>
            </a:r>
            <a:r>
              <a:rPr lang="en-US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13"/>
              </a:rPr>
              <a:t>Camp Jabberwocky</a:t>
            </a:r>
            <a:r>
              <a:rPr lang="en-US" dirty="0"/>
              <a:t> – Vineyard Haven, M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14"/>
              </a:rPr>
              <a:t>Special Surfers</a:t>
            </a:r>
            <a:r>
              <a:rPr lang="en-US" dirty="0"/>
              <a:t> – Kennebunk, Mai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15"/>
              </a:rPr>
              <a:t>Camp Courage – Epilepsy Foundation of Connecticut</a:t>
            </a:r>
            <a:r>
              <a:rPr lang="en-US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16"/>
              </a:rPr>
              <a:t>Camp Frank A. Day</a:t>
            </a:r>
            <a:r>
              <a:rPr lang="en-US" dirty="0"/>
              <a:t> – East Brookfield, M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17"/>
              </a:rPr>
              <a:t>Camp Simcha &amp; Camp Simcha Special</a:t>
            </a:r>
            <a:r>
              <a:rPr lang="en-US" dirty="0"/>
              <a:t> – Glen </a:t>
            </a:r>
            <a:r>
              <a:rPr lang="en-US" dirty="0" err="1"/>
              <a:t>Spey</a:t>
            </a:r>
            <a:r>
              <a:rPr lang="en-US" dirty="0"/>
              <a:t>, NY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0F22D-7BD0-6D44-C85B-E69B3AB5A0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er Camps cont.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998311-B601-D718-A6C8-D1E200F7EB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MGH Community Health Work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42226104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97290CD-A117-EAE5-54A7-9B9CD3D89D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1543" y="1420901"/>
            <a:ext cx="5768438" cy="402336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Summer Nature Day Camps – Mass Audubon </a:t>
            </a:r>
            <a:endParaRPr lang="en-US" dirty="0">
              <a:hlinkClick r:id="rId3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hlinkClick r:id="rId4"/>
              </a:rPr>
              <a:t>Macaroni KI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hlinkClick r:id="rId5"/>
              </a:rPr>
              <a:t>2023 Guide to Summer Camps in Boston + Beyond!</a:t>
            </a:r>
            <a:r>
              <a:rPr lang="en-US" dirty="0"/>
              <a:t> </a:t>
            </a:r>
          </a:p>
          <a:p>
            <a:pPr marL="804863" lvl="1" indent="-342900">
              <a:buSzTx/>
              <a:buFont typeface="Courier New" panose="02070309020205020404" pitchFamily="49" charset="0"/>
              <a:buChar char="o"/>
              <a:defRPr/>
            </a:pPr>
            <a:r>
              <a:rPr lang="en-US" dirty="0">
                <a:hlinkClick r:id="rId4"/>
              </a:rPr>
              <a:t>2024 Guide not out ye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hlinkClick r:id="rId6"/>
              </a:rPr>
              <a:t>Family Resource Centers</a:t>
            </a:r>
            <a:r>
              <a:rPr lang="en-US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7"/>
              </a:rPr>
              <a:t>American Camp Association, New England </a:t>
            </a:r>
            <a:r>
              <a:rPr lang="en-US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8"/>
              </a:rPr>
              <a:t>Student Trip and Camp Advisors Search Tool</a:t>
            </a:r>
            <a:r>
              <a:rPr lang="en-US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9"/>
              </a:rPr>
              <a:t>Mass Camps</a:t>
            </a:r>
            <a:r>
              <a:rPr lang="en-US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10"/>
              </a:rPr>
              <a:t>Salvation Arm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11"/>
              </a:rPr>
              <a:t>Girl Scout Camps </a:t>
            </a:r>
            <a:r>
              <a:rPr lang="en-US" dirty="0"/>
              <a:t> &amp; </a:t>
            </a:r>
            <a:r>
              <a:rPr lang="en-US" dirty="0">
                <a:hlinkClick r:id="rId12"/>
              </a:rPr>
              <a:t>Boy Scouts Camp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13"/>
              </a:rPr>
              <a:t>Camp Invention</a:t>
            </a:r>
            <a:r>
              <a:rPr lang="en-US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14"/>
              </a:rPr>
              <a:t>Local Community Action Agencies (CAPS)</a:t>
            </a: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15"/>
              </a:rPr>
              <a:t>Massachusetts Summer Camps | </a:t>
            </a:r>
            <a:r>
              <a:rPr lang="en-US" dirty="0" err="1">
                <a:hlinkClick r:id="rId15"/>
              </a:rPr>
              <a:t>KidsCamps</a:t>
            </a:r>
            <a:endParaRPr lang="en-US" dirty="0"/>
          </a:p>
          <a:p>
            <a:endParaRPr lang="en-US" dirty="0">
              <a:highlight>
                <a:srgbClr val="00FFFF"/>
              </a:highlight>
            </a:endParaRPr>
          </a:p>
          <a:p>
            <a:r>
              <a:rPr lang="en-US" sz="1800" dirty="0">
                <a:highlight>
                  <a:srgbClr val="00FFFF"/>
                </a:highlight>
              </a:rPr>
              <a:t>Lend a Hand has a camp grant you can apply for here:</a:t>
            </a:r>
          </a:p>
          <a:p>
            <a:r>
              <a:rPr lang="en-US" sz="1800" dirty="0">
                <a:highlight>
                  <a:srgbClr val="00FFFF"/>
                </a:highlight>
              </a:rPr>
              <a:t> </a:t>
            </a:r>
            <a:r>
              <a:rPr lang="en-US" sz="1800" dirty="0">
                <a:highlight>
                  <a:srgbClr val="00FFFF"/>
                </a:highlight>
                <a:hlinkClick r:id="rId16"/>
              </a:rPr>
              <a:t>Grants - Lend A Hand Society (lend-a-hand-society.org)</a:t>
            </a:r>
            <a:r>
              <a:rPr lang="en-US" sz="1800" dirty="0"/>
              <a:t> </a:t>
            </a:r>
            <a:endParaRPr lang="en-US" sz="1800" dirty="0">
              <a:highlight>
                <a:srgbClr val="00FFFF"/>
              </a:highlight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20EDD-8355-2788-C39B-248DD03A5E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5087" y="1420901"/>
            <a:ext cx="5208054" cy="402336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Local Colleges/Universit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Local Council’s for the </a:t>
            </a:r>
            <a:r>
              <a:rPr lang="en-US" sz="2000" kern="1200" dirty="0">
                <a:solidFill>
                  <a:schemeClr val="dk1"/>
                </a:solidFill>
                <a:latin typeface="+mn-lt"/>
                <a:ea typeface="+mn-ea"/>
                <a:cs typeface="+mn-cs"/>
              </a:rPr>
              <a:t>Arts</a:t>
            </a:r>
            <a:r>
              <a:rPr lang="en-US" sz="2000" dirty="0"/>
              <a:t> and Museu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Boys and Girls Club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YMCA’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ublic Schoo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useums</a:t>
            </a: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Community Development Corporations (often have youth engagement program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ublic Libraries and Community Art Cent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City/Town Summer Recreation Progra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laces of worshi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Zoo’s (</a:t>
            </a:r>
            <a:r>
              <a:rPr lang="en-US" dirty="0">
                <a:hlinkClick r:id="rId17"/>
              </a:rPr>
              <a:t>Zoo New England Summer Camps</a:t>
            </a:r>
            <a:r>
              <a:rPr lang="en-US" dirty="0"/>
              <a:t>)</a:t>
            </a:r>
          </a:p>
          <a:p>
            <a:pPr marL="804863" lvl="1" indent="-342900"/>
            <a:r>
              <a:rPr lang="en-US" dirty="0"/>
              <a:t>Zoo New England- Enrollment open now! </a:t>
            </a:r>
          </a:p>
          <a:p>
            <a:pPr marL="804863" lvl="1" indent="-342900"/>
            <a:r>
              <a:rPr lang="en-US" b="1" u="sng" dirty="0"/>
              <a:t>Offers sliding scale scholarships.</a:t>
            </a:r>
            <a:r>
              <a:rPr lang="en-US" dirty="0"/>
              <a:t> Explore now, some sessions are almost filled!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F3F5E9C-8301-6987-0F51-D498DA3313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er Camps – Search Tools and General Idea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7531C4-3611-8A08-55C7-0D6C1C7C21D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MGH Community Health Work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8924433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whv99HOK.4oPr_lV5y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whv99HOK.4oPr_lV5y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whv99HOK.4oPr_lV5y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whv99HOK.4oPr_lV5y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2" id="{C5A6E707-03D8-F94C-A134-56EFE8EA586B}" vid="{CDC3E881-144C-C94D-9F47-81E5D87847F5}"/>
    </a:ext>
  </a:extLst>
</a:theme>
</file>

<file path=ppt/theme/theme2.xml><?xml version="1.0" encoding="utf-8"?>
<a:theme xmlns:a="http://schemas.openxmlformats.org/drawingml/2006/main" name="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GB_standard_template_022021" id="{D73F0B1C-26EB-3F44-8AE0-474B42F0F61E}" vid="{68716181-CC01-2345-AB9B-FFE4016E16B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00</TotalTime>
  <Words>929</Words>
  <Application>Microsoft Office PowerPoint</Application>
  <PresentationFormat>Widescreen</PresentationFormat>
  <Paragraphs>154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Calibri</vt:lpstr>
      <vt:lpstr>Courier New</vt:lpstr>
      <vt:lpstr>Georgia</vt:lpstr>
      <vt:lpstr>System Font Regular</vt:lpstr>
      <vt:lpstr>Wingdings</vt:lpstr>
      <vt:lpstr>MGB_standard_template_082020</vt:lpstr>
      <vt:lpstr>MGB_standard_template_082020</vt:lpstr>
      <vt:lpstr>think-cell Slide</vt:lpstr>
      <vt:lpstr>Youth Summer Jobs and Camps</vt:lpstr>
      <vt:lpstr>Youth Summer Job Programs -Boston</vt:lpstr>
      <vt:lpstr>Youth Summer Job Programs- Outside of Boston</vt:lpstr>
      <vt:lpstr>Youth Summer Job Programs</vt:lpstr>
      <vt:lpstr>Summer Camps- Boston</vt:lpstr>
      <vt:lpstr>Summer Camps cont.</vt:lpstr>
      <vt:lpstr>Summer Camps – Search Tools and General Idea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th Summer Jobs and Camps</dc:title>
  <dc:creator>Flannery, Kelly</dc:creator>
  <cp:lastModifiedBy>Ellen Forman</cp:lastModifiedBy>
  <cp:revision>2</cp:revision>
  <dcterms:created xsi:type="dcterms:W3CDTF">2023-03-10T13:08:00Z</dcterms:created>
  <dcterms:modified xsi:type="dcterms:W3CDTF">2024-01-22T15:12:31Z</dcterms:modified>
</cp:coreProperties>
</file>